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2.xml" ContentType="application/vnd.openxmlformats-officedocument.presentationml.tags+xml"/>
  <Override PartName="/ppt/notesSlides/notesSlide2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7.xml" ContentType="application/vnd.openxmlformats-officedocument.presentationml.notesSlide+xml"/>
  <Override PartName="/ppt/comments/comment3.xml" ContentType="application/vnd.openxmlformats-officedocument.presentationml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2"/>
  </p:notesMasterIdLst>
  <p:handoutMasterIdLst>
    <p:handoutMasterId r:id="rId103"/>
  </p:handoutMasterIdLst>
  <p:sldIdLst>
    <p:sldId id="256" r:id="rId7"/>
    <p:sldId id="383" r:id="rId8"/>
    <p:sldId id="373" r:id="rId9"/>
    <p:sldId id="416" r:id="rId10"/>
    <p:sldId id="417" r:id="rId11"/>
    <p:sldId id="418" r:id="rId12"/>
    <p:sldId id="419" r:id="rId13"/>
    <p:sldId id="370" r:id="rId14"/>
    <p:sldId id="369" r:id="rId15"/>
    <p:sldId id="378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99" r:id="rId33"/>
    <p:sldId id="400" r:id="rId34"/>
    <p:sldId id="401" r:id="rId35"/>
    <p:sldId id="402" r:id="rId36"/>
    <p:sldId id="403" r:id="rId37"/>
    <p:sldId id="404" r:id="rId38"/>
    <p:sldId id="405" r:id="rId39"/>
    <p:sldId id="420" r:id="rId40"/>
    <p:sldId id="421" r:id="rId41"/>
    <p:sldId id="424" r:id="rId42"/>
    <p:sldId id="423" r:id="rId43"/>
    <p:sldId id="422" r:id="rId44"/>
    <p:sldId id="374" r:id="rId45"/>
    <p:sldId id="382" r:id="rId46"/>
    <p:sldId id="318" r:id="rId47"/>
    <p:sldId id="425" r:id="rId48"/>
    <p:sldId id="320" r:id="rId49"/>
    <p:sldId id="426" r:id="rId50"/>
    <p:sldId id="427" r:id="rId51"/>
    <p:sldId id="323" r:id="rId52"/>
    <p:sldId id="428" r:id="rId53"/>
    <p:sldId id="429" r:id="rId54"/>
    <p:sldId id="324" r:id="rId55"/>
    <p:sldId id="430" r:id="rId56"/>
    <p:sldId id="432" r:id="rId57"/>
    <p:sldId id="431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392" r:id="rId100"/>
    <p:sldId id="299" r:id="rId101"/>
  </p:sldIdLst>
  <p:sldSz cx="9144000" cy="6858000" type="screen4x3"/>
  <p:notesSz cx="7023100" cy="9309100"/>
  <p:custDataLst>
    <p:tags r:id="rId10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viewProps" Target="view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handoutMaster" Target="handoutMasters/handoutMaster1.xml"/><Relationship Id="rId108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ableStyles" Target="tableStyle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tags" Target="tags/tag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7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7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8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3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3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octoral Thesis in Applied Mathematics </a:t>
            </a:r>
            <a:br>
              <a:rPr lang="en-US" dirty="0"/>
            </a:br>
            <a:r>
              <a:rPr lang="en-US" dirty="0"/>
              <a:t>	</a:t>
            </a:r>
            <a:r>
              <a:rPr lang="en-US"/>
              <a:t>Defense Present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March 2019</a:t>
            </a:r>
          </a:p>
          <a:p>
            <a:r>
              <a:rPr lang="en-US" dirty="0"/>
              <a:t>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27</TotalTime>
  <Words>4019</Words>
  <Application>Microsoft Office PowerPoint</Application>
  <PresentationFormat>On-screen Show (4:3)</PresentationFormat>
  <Paragraphs>1222</Paragraphs>
  <Slides>95</Slides>
  <Notes>57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1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8</cp:revision>
  <cp:lastPrinted>2015-07-29T21:30:37Z</cp:lastPrinted>
  <dcterms:created xsi:type="dcterms:W3CDTF">2017-09-21T08:49:16Z</dcterms:created>
  <dcterms:modified xsi:type="dcterms:W3CDTF">2019-02-26T17:20:4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